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56" r:id="rId3"/>
    <p:sldId id="258" r:id="rId4"/>
    <p:sldId id="259" r:id="rId5"/>
    <p:sldId id="260" r:id="rId6"/>
    <p:sldId id="261" r:id="rId7"/>
    <p:sldId id="262" r:id="rId8"/>
    <p:sldId id="264" r:id="rId9"/>
    <p:sldId id="267" r:id="rId10"/>
    <p:sldId id="265" r:id="rId11"/>
    <p:sldId id="268" r:id="rId1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9" d="100"/>
          <a:sy n="69" d="100"/>
        </p:scale>
        <p:origin x="75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D8523-4E7C-47C6-86E5-03B1DD3BA88A}" type="datetimeFigureOut">
              <a:rPr lang="de-DE" smtClean="0"/>
              <a:t>18.07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62575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D8523-4E7C-47C6-86E5-03B1DD3BA88A}" type="datetimeFigureOut">
              <a:rPr lang="de-DE" smtClean="0"/>
              <a:t>18.07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58273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D8523-4E7C-47C6-86E5-03B1DD3BA88A}" type="datetimeFigureOut">
              <a:rPr lang="de-DE" smtClean="0"/>
              <a:t>18.07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03201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3" y="1594"/>
          <a:ext cx="1591" cy="15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4"/>
                        <a:ext cx="1591" cy="15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321075" y="3"/>
            <a:ext cx="9675948" cy="652899"/>
          </a:xfrm>
          <a:prstGeom prst="rect">
            <a:avLst/>
          </a:prstGeom>
        </p:spPr>
        <p:txBody>
          <a:bodyPr vert="horz" lIns="182848" tIns="45712" rIns="182848" bIns="45712" anchor="ctr" anchorCtr="0"/>
          <a:lstStyle>
            <a:lvl1pPr>
              <a:buNone/>
              <a:defRPr sz="2667" b="0" cap="none" baseline="0">
                <a:latin typeface="Dotum" panose="020B0600000101010101" pitchFamily="34" charset="-127"/>
                <a:ea typeface="Dotum" panose="020B0600000101010101" pitchFamily="34" charset="-127"/>
              </a:defRPr>
            </a:lvl1pPr>
          </a:lstStyle>
          <a:p>
            <a:pPr lvl="0"/>
            <a:r>
              <a:rPr lang="de-DE" noProof="0" dirty="0" smtClean="0"/>
              <a:t>Headline</a:t>
            </a:r>
            <a:endParaRPr lang="de-DE" noProof="0" dirty="0"/>
          </a:p>
        </p:txBody>
      </p:sp>
      <p:pic>
        <p:nvPicPr>
          <p:cNvPr id="3" name="Picture 22" descr="NTT_logo_RGB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0590" y="228148"/>
            <a:ext cx="1689101" cy="24765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572775" y="652899"/>
            <a:ext cx="1348365" cy="9039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834734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D8523-4E7C-47C6-86E5-03B1DD3BA88A}" type="datetimeFigureOut">
              <a:rPr lang="de-DE" smtClean="0"/>
              <a:t>18.07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20596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D8523-4E7C-47C6-86E5-03B1DD3BA88A}" type="datetimeFigureOut">
              <a:rPr lang="de-DE" smtClean="0"/>
              <a:t>18.07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5680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D8523-4E7C-47C6-86E5-03B1DD3BA88A}" type="datetimeFigureOut">
              <a:rPr lang="de-DE" smtClean="0"/>
              <a:t>18.07.2018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6706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D8523-4E7C-47C6-86E5-03B1DD3BA88A}" type="datetimeFigureOut">
              <a:rPr lang="de-DE" smtClean="0"/>
              <a:t>18.07.2018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64659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D8523-4E7C-47C6-86E5-03B1DD3BA88A}" type="datetimeFigureOut">
              <a:rPr lang="de-DE" smtClean="0"/>
              <a:t>18.07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03387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D8523-4E7C-47C6-86E5-03B1DD3BA88A}" type="datetimeFigureOut">
              <a:rPr lang="de-DE" smtClean="0"/>
              <a:t>18.07.2018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13816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D8523-4E7C-47C6-86E5-03B1DD3BA88A}" type="datetimeFigureOut">
              <a:rPr lang="de-DE" smtClean="0"/>
              <a:t>18.07.2018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26778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D8523-4E7C-47C6-86E5-03B1DD3BA88A}" type="datetimeFigureOut">
              <a:rPr lang="de-DE" smtClean="0"/>
              <a:t>18.07.2018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53330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3D8523-4E7C-47C6-86E5-03B1DD3BA88A}" type="datetimeFigureOut">
              <a:rPr lang="de-DE" smtClean="0"/>
              <a:t>18.07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FA3B5E-CA97-4472-BFD7-CFCBC3AFF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029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846" y="-566883"/>
            <a:ext cx="12330529" cy="8220352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-48683" y="4101075"/>
            <a:ext cx="12385376" cy="171396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/>
              <a:t>Wolfgang Unger 3.2018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1867" y="963149"/>
            <a:ext cx="3467100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534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rvice (</a:t>
            </a:r>
            <a:r>
              <a:rPr lang="de-DE" dirty="0" err="1" smtClean="0"/>
              <a:t>CloudFormation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838200" y="2151356"/>
            <a:ext cx="8640960" cy="33855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 smtClean="0"/>
              <a:t>Service (Cloud Formation): </a:t>
            </a:r>
            <a:r>
              <a:rPr lang="de-DE" sz="1400" b="1" dirty="0" smtClean="0"/>
              <a:t> </a:t>
            </a:r>
          </a:p>
          <a:p>
            <a:endParaRPr lang="de-DE" sz="1400" b="1" dirty="0"/>
          </a:p>
          <a:p>
            <a:r>
              <a:rPr lang="de-DE" sz="1400" b="1" dirty="0" smtClean="0"/>
              <a:t>Resources: </a:t>
            </a:r>
          </a:p>
          <a:p>
            <a:r>
              <a:rPr lang="de-DE" sz="1400" b="1" dirty="0" smtClean="0"/>
              <a:t>  Service</a:t>
            </a:r>
            <a:r>
              <a:rPr lang="de-DE" sz="1400" b="1" dirty="0"/>
              <a:t>:</a:t>
            </a:r>
          </a:p>
          <a:p>
            <a:r>
              <a:rPr lang="de-DE" sz="1400" b="1" dirty="0"/>
              <a:t>        Type: AWS::ECS::Service</a:t>
            </a:r>
          </a:p>
          <a:p>
            <a:r>
              <a:rPr lang="de-DE" sz="1400" b="1" dirty="0"/>
              <a:t>        </a:t>
            </a:r>
            <a:r>
              <a:rPr lang="de-DE" sz="1400" b="1" dirty="0" err="1"/>
              <a:t>DependsOn</a:t>
            </a:r>
            <a:r>
              <a:rPr lang="de-DE" sz="1400" b="1" dirty="0"/>
              <a:t>: </a:t>
            </a:r>
            <a:r>
              <a:rPr lang="de-DE" sz="1400" b="1" dirty="0" err="1"/>
              <a:t>ListenerRule</a:t>
            </a:r>
            <a:endParaRPr lang="de-DE" sz="1400" b="1" dirty="0"/>
          </a:p>
          <a:p>
            <a:r>
              <a:rPr lang="de-DE" sz="1400" b="1" dirty="0"/>
              <a:t>        Properties: </a:t>
            </a:r>
          </a:p>
          <a:p>
            <a:r>
              <a:rPr lang="de-DE" sz="1400" b="1" dirty="0"/>
              <a:t>            Cluster: !</a:t>
            </a:r>
            <a:r>
              <a:rPr lang="de-DE" sz="1400" b="1" dirty="0" err="1"/>
              <a:t>Ref</a:t>
            </a:r>
            <a:r>
              <a:rPr lang="de-DE" sz="1400" b="1" dirty="0"/>
              <a:t> Cluster</a:t>
            </a:r>
          </a:p>
          <a:p>
            <a:r>
              <a:rPr lang="de-DE" sz="1400" b="1" dirty="0"/>
              <a:t>            </a:t>
            </a:r>
            <a:r>
              <a:rPr lang="de-DE" sz="1400" b="1" dirty="0" err="1"/>
              <a:t>Role</a:t>
            </a:r>
            <a:r>
              <a:rPr lang="de-DE" sz="1400" b="1" dirty="0"/>
              <a:t>: !</a:t>
            </a:r>
            <a:r>
              <a:rPr lang="de-DE" sz="1400" b="1" dirty="0" err="1"/>
              <a:t>Ref</a:t>
            </a:r>
            <a:r>
              <a:rPr lang="de-DE" sz="1400" b="1" dirty="0"/>
              <a:t> </a:t>
            </a:r>
            <a:r>
              <a:rPr lang="de-DE" sz="1400" b="1" dirty="0" err="1"/>
              <a:t>ServiceRole</a:t>
            </a:r>
            <a:endParaRPr lang="de-DE" sz="1400" b="1" dirty="0"/>
          </a:p>
          <a:p>
            <a:r>
              <a:rPr lang="de-DE" sz="1400" b="1" dirty="0"/>
              <a:t>            </a:t>
            </a:r>
            <a:r>
              <a:rPr lang="de-DE" sz="1400" b="1" dirty="0" err="1"/>
              <a:t>DesiredCount</a:t>
            </a:r>
            <a:r>
              <a:rPr lang="de-DE" sz="1400" b="1" dirty="0"/>
              <a:t>: !</a:t>
            </a:r>
            <a:r>
              <a:rPr lang="de-DE" sz="1400" b="1" dirty="0" err="1"/>
              <a:t>Ref</a:t>
            </a:r>
            <a:r>
              <a:rPr lang="de-DE" sz="1400" b="1" dirty="0"/>
              <a:t> </a:t>
            </a:r>
            <a:r>
              <a:rPr lang="de-DE" sz="1400" b="1" dirty="0" err="1"/>
              <a:t>DesiredCount</a:t>
            </a:r>
            <a:endParaRPr lang="de-DE" sz="1400" b="1" dirty="0"/>
          </a:p>
          <a:p>
            <a:r>
              <a:rPr lang="de-DE" sz="1400" b="1" dirty="0" smtClean="0"/>
              <a:t>            </a:t>
            </a:r>
            <a:r>
              <a:rPr lang="de-DE" sz="1400" b="1" dirty="0" err="1" smtClean="0"/>
              <a:t>TaskDefinition</a:t>
            </a:r>
            <a:r>
              <a:rPr lang="de-DE" sz="1400" b="1" dirty="0"/>
              <a:t>:  !Sub '${</a:t>
            </a:r>
            <a:r>
              <a:rPr lang="de-DE" sz="1400" b="1" dirty="0" err="1"/>
              <a:t>TaskDefinitionArn</a:t>
            </a:r>
            <a:r>
              <a:rPr lang="de-DE" sz="1400" b="1" dirty="0" smtClean="0"/>
              <a:t>}'</a:t>
            </a:r>
            <a:endParaRPr lang="de-DE" sz="1400" b="1" dirty="0"/>
          </a:p>
          <a:p>
            <a:r>
              <a:rPr lang="de-DE" sz="1400" b="1" dirty="0"/>
              <a:t>            </a:t>
            </a:r>
            <a:r>
              <a:rPr lang="de-DE" sz="1400" b="1" dirty="0" err="1"/>
              <a:t>LoadBalancers</a:t>
            </a:r>
            <a:r>
              <a:rPr lang="de-DE" sz="1400" b="1" dirty="0"/>
              <a:t>: </a:t>
            </a:r>
          </a:p>
          <a:p>
            <a:r>
              <a:rPr lang="de-DE" sz="1400" b="1" dirty="0"/>
              <a:t>                - </a:t>
            </a:r>
            <a:r>
              <a:rPr lang="de-DE" sz="1400" b="1" dirty="0" err="1"/>
              <a:t>ContainerName</a:t>
            </a:r>
            <a:r>
              <a:rPr lang="de-DE" sz="1400" b="1" dirty="0"/>
              <a:t>: !Sub '${</a:t>
            </a:r>
            <a:r>
              <a:rPr lang="de-DE" sz="1400" b="1" dirty="0" err="1"/>
              <a:t>TaskDefinition</a:t>
            </a:r>
            <a:r>
              <a:rPr lang="de-DE" sz="1400" b="1" dirty="0"/>
              <a:t>}'</a:t>
            </a:r>
          </a:p>
          <a:p>
            <a:r>
              <a:rPr lang="de-DE" sz="1400" b="1" dirty="0"/>
              <a:t>                  </a:t>
            </a:r>
            <a:r>
              <a:rPr lang="de-DE" sz="1400" b="1" dirty="0" err="1"/>
              <a:t>ContainerPort</a:t>
            </a:r>
            <a:r>
              <a:rPr lang="de-DE" sz="1400" b="1" dirty="0"/>
              <a:t>: !Sub '${</a:t>
            </a:r>
            <a:r>
              <a:rPr lang="de-DE" sz="1400" b="1" dirty="0" err="1"/>
              <a:t>ContainerPort</a:t>
            </a:r>
            <a:r>
              <a:rPr lang="de-DE" sz="1400" b="1" dirty="0"/>
              <a:t>}'</a:t>
            </a:r>
          </a:p>
          <a:p>
            <a:r>
              <a:rPr lang="de-DE" sz="1400" b="1" dirty="0"/>
              <a:t>                  </a:t>
            </a:r>
            <a:r>
              <a:rPr lang="de-DE" sz="1400" b="1" dirty="0" err="1"/>
              <a:t>TargetGroupArn</a:t>
            </a:r>
            <a:r>
              <a:rPr lang="de-DE" sz="1400" b="1" dirty="0"/>
              <a:t>: !</a:t>
            </a:r>
            <a:r>
              <a:rPr lang="de-DE" sz="1400" b="1" dirty="0" err="1"/>
              <a:t>Ref</a:t>
            </a:r>
            <a:r>
              <a:rPr lang="de-DE" sz="1400" b="1" dirty="0"/>
              <a:t> </a:t>
            </a:r>
            <a:r>
              <a:rPr lang="de-DE" sz="1400" b="1" dirty="0" err="1"/>
              <a:t>TargetGroup</a:t>
            </a:r>
            <a:endParaRPr lang="de-DE" sz="1400" b="1" dirty="0"/>
          </a:p>
        </p:txBody>
      </p:sp>
    </p:spTree>
    <p:extLst>
      <p:ext uri="{BB962C8B-B14F-4D97-AF65-F5344CB8AC3E}">
        <p14:creationId xmlns:p14="http://schemas.microsoft.com/office/powerpoint/2010/main" val="3241118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de </a:t>
            </a:r>
            <a:r>
              <a:rPr lang="de-DE" dirty="0" err="1" smtClean="0"/>
              <a:t>build</a:t>
            </a:r>
            <a:r>
              <a:rPr lang="de-DE" dirty="0" smtClean="0"/>
              <a:t> /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pipeline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144" y="2256722"/>
            <a:ext cx="6392301" cy="417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011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1765" y="2590334"/>
            <a:ext cx="1813998" cy="1993404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5088486" y="2848372"/>
            <a:ext cx="4572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Amazon Elastic Container Service (Amazon ECS) is a highly scalable, fast, container management service that makes it easy to run, stop, and manage Docker containers on a cluster of Amazon EC2 instances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7938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mponents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1254339" y="2101408"/>
            <a:ext cx="655272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 smtClean="0"/>
              <a:t>ECR – </a:t>
            </a:r>
            <a:r>
              <a:rPr lang="de-DE" sz="2000" b="1" dirty="0" err="1" smtClean="0"/>
              <a:t>Elastic</a:t>
            </a:r>
            <a:r>
              <a:rPr lang="de-DE" sz="2000" b="1" dirty="0" smtClean="0"/>
              <a:t> Container Registry</a:t>
            </a:r>
          </a:p>
          <a:p>
            <a:endParaRPr lang="de-DE" sz="2000" b="1" dirty="0" smtClean="0"/>
          </a:p>
          <a:p>
            <a:r>
              <a:rPr lang="de-DE" sz="2000" b="1" dirty="0" smtClean="0"/>
              <a:t>ECS – </a:t>
            </a:r>
            <a:r>
              <a:rPr lang="de-DE" sz="2000" b="1" dirty="0" err="1" smtClean="0"/>
              <a:t>Elastic</a:t>
            </a:r>
            <a:r>
              <a:rPr lang="de-DE" sz="2000" b="1" dirty="0" smtClean="0"/>
              <a:t> Container Services ( Cluster)</a:t>
            </a:r>
          </a:p>
          <a:p>
            <a:r>
              <a:rPr lang="de-DE" sz="2000" b="1" dirty="0"/>
              <a:t> </a:t>
            </a:r>
            <a:r>
              <a:rPr lang="de-DE" sz="2000" b="1" dirty="0" smtClean="0"/>
              <a:t> ECS2 </a:t>
            </a:r>
            <a:r>
              <a:rPr lang="de-DE" sz="2000" b="1" dirty="0" err="1" smtClean="0"/>
              <a:t>Instances</a:t>
            </a:r>
            <a:endParaRPr lang="de-DE" sz="2000" b="1" dirty="0" smtClean="0"/>
          </a:p>
          <a:p>
            <a:endParaRPr lang="de-DE" sz="2000" b="1" dirty="0"/>
          </a:p>
          <a:p>
            <a:r>
              <a:rPr lang="de-DE" sz="2000" b="1" dirty="0" smtClean="0"/>
              <a:t>Images ( Docker) </a:t>
            </a:r>
          </a:p>
          <a:p>
            <a:endParaRPr lang="de-DE" sz="2000" b="1" dirty="0" smtClean="0"/>
          </a:p>
          <a:p>
            <a:r>
              <a:rPr lang="de-DE" sz="2000" b="1" dirty="0" smtClean="0"/>
              <a:t>Task Definition</a:t>
            </a:r>
          </a:p>
          <a:p>
            <a:endParaRPr lang="de-DE" sz="2000" b="1" dirty="0" smtClean="0"/>
          </a:p>
          <a:p>
            <a:r>
              <a:rPr lang="de-DE" sz="2000" b="1" dirty="0" smtClean="0"/>
              <a:t>Service </a:t>
            </a:r>
            <a:endParaRPr lang="de-DE" sz="2000" b="1" dirty="0"/>
          </a:p>
        </p:txBody>
      </p:sp>
    </p:spTree>
    <p:extLst>
      <p:ext uri="{BB962C8B-B14F-4D97-AF65-F5344CB8AC3E}">
        <p14:creationId xmlns:p14="http://schemas.microsoft.com/office/powerpoint/2010/main" val="1951750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rchitecture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989" y="1832090"/>
            <a:ext cx="8991875" cy="4586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052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09707"/>
            <a:ext cx="10515600" cy="1325563"/>
          </a:xfrm>
        </p:spPr>
        <p:txBody>
          <a:bodyPr/>
          <a:lstStyle/>
          <a:p>
            <a:r>
              <a:rPr lang="de-DE" dirty="0" err="1" smtClean="0"/>
              <a:t>Architecture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3491" y="1274618"/>
            <a:ext cx="6622472" cy="5417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02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Getting</a:t>
            </a:r>
            <a:r>
              <a:rPr lang="de-DE" dirty="0" smtClean="0"/>
              <a:t> </a:t>
            </a:r>
            <a:r>
              <a:rPr lang="de-DE" dirty="0" err="1" smtClean="0"/>
              <a:t>started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573315" y="1820048"/>
            <a:ext cx="857966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err="1" smtClean="0"/>
              <a:t>Required</a:t>
            </a:r>
            <a:r>
              <a:rPr lang="de-DE" dirty="0" smtClean="0"/>
              <a:t>  Infrastructure  :</a:t>
            </a:r>
          </a:p>
          <a:p>
            <a:r>
              <a:rPr lang="de-DE" dirty="0" smtClean="0"/>
              <a:t>Create VPC</a:t>
            </a:r>
          </a:p>
          <a:p>
            <a:r>
              <a:rPr lang="de-DE" dirty="0" smtClean="0"/>
              <a:t>Create ECR</a:t>
            </a:r>
          </a:p>
          <a:p>
            <a:r>
              <a:rPr lang="de-DE" dirty="0" smtClean="0"/>
              <a:t>Create ECS ( Cluster : EC2 </a:t>
            </a:r>
            <a:r>
              <a:rPr lang="de-DE" dirty="0" err="1" smtClean="0"/>
              <a:t>Instances</a:t>
            </a:r>
            <a:r>
              <a:rPr lang="de-DE" dirty="0" smtClean="0"/>
              <a:t>, </a:t>
            </a:r>
            <a:r>
              <a:rPr lang="de-DE" dirty="0" err="1" smtClean="0"/>
              <a:t>LoadBalancers</a:t>
            </a:r>
            <a:r>
              <a:rPr lang="de-DE" dirty="0" smtClean="0"/>
              <a:t>, Security Groups, NATs </a:t>
            </a:r>
            <a:r>
              <a:rPr lang="de-DE" dirty="0" err="1" smtClean="0"/>
              <a:t>etc</a:t>
            </a:r>
            <a:r>
              <a:rPr lang="de-DE" dirty="0" smtClean="0"/>
              <a:t>)</a:t>
            </a:r>
          </a:p>
          <a:p>
            <a:r>
              <a:rPr lang="de-DE" dirty="0" err="1" smtClean="0"/>
              <a:t>CloudWatch</a:t>
            </a:r>
            <a:r>
              <a:rPr lang="de-DE" dirty="0" smtClean="0"/>
              <a:t> Alarms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Scaling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573315" y="4048538"/>
            <a:ext cx="857966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smtClean="0"/>
              <a:t>Create Docker Image</a:t>
            </a:r>
          </a:p>
          <a:p>
            <a:r>
              <a:rPr lang="de-DE" dirty="0" smtClean="0"/>
              <a:t>Push Docker Image </a:t>
            </a:r>
            <a:r>
              <a:rPr lang="de-DE" dirty="0" err="1" smtClean="0"/>
              <a:t>to</a:t>
            </a:r>
            <a:r>
              <a:rPr lang="de-DE" dirty="0" smtClean="0"/>
              <a:t> ECR</a:t>
            </a:r>
          </a:p>
          <a:p>
            <a:r>
              <a:rPr lang="de-DE" dirty="0" smtClean="0"/>
              <a:t>Create Task Definition ( </a:t>
            </a:r>
            <a:r>
              <a:rPr lang="de-DE" dirty="0" err="1" smtClean="0"/>
              <a:t>based</a:t>
            </a:r>
            <a:r>
              <a:rPr lang="de-DE" dirty="0" smtClean="0"/>
              <a:t> on Docker Image)</a:t>
            </a:r>
          </a:p>
          <a:p>
            <a:r>
              <a:rPr lang="de-DE" dirty="0" smtClean="0"/>
              <a:t>Create Service ( </a:t>
            </a:r>
            <a:r>
              <a:rPr lang="de-DE" dirty="0" err="1" smtClean="0"/>
              <a:t>based</a:t>
            </a:r>
            <a:r>
              <a:rPr lang="de-DE" dirty="0" smtClean="0"/>
              <a:t> on Task Definition)</a:t>
            </a:r>
          </a:p>
          <a:p>
            <a:r>
              <a:rPr lang="de-DE" dirty="0" err="1"/>
              <a:t>CloudWatch</a:t>
            </a:r>
            <a:r>
              <a:rPr lang="de-DE" dirty="0"/>
              <a:t> Alarm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caling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3164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Image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ask</a:t>
            </a:r>
            <a:r>
              <a:rPr lang="de-DE" dirty="0" smtClean="0"/>
              <a:t> </a:t>
            </a:r>
            <a:r>
              <a:rPr lang="de-DE" dirty="0" err="1" smtClean="0"/>
              <a:t>defintion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974692" y="2206774"/>
            <a:ext cx="8496944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/>
              <a:t>Create and tag </a:t>
            </a:r>
            <a:r>
              <a:rPr lang="en-US" b="1" dirty="0" err="1" smtClean="0"/>
              <a:t>docker</a:t>
            </a:r>
            <a:r>
              <a:rPr lang="en-US" b="1" dirty="0" smtClean="0"/>
              <a:t> Image:</a:t>
            </a:r>
          </a:p>
          <a:p>
            <a:endParaRPr lang="en-US" b="1" dirty="0" smtClean="0"/>
          </a:p>
          <a:p>
            <a:r>
              <a:rPr lang="de-DE" dirty="0" err="1"/>
              <a:t>docker</a:t>
            </a:r>
            <a:r>
              <a:rPr lang="de-DE" dirty="0"/>
              <a:t> </a:t>
            </a:r>
            <a:r>
              <a:rPr lang="de-DE" dirty="0" err="1"/>
              <a:t>build</a:t>
            </a:r>
            <a:r>
              <a:rPr lang="de-DE" dirty="0"/>
              <a:t> -f </a:t>
            </a:r>
            <a:r>
              <a:rPr lang="de-DE" u="sng" dirty="0" err="1"/>
              <a:t>src</a:t>
            </a:r>
            <a:r>
              <a:rPr lang="de-DE" u="sng" dirty="0"/>
              <a:t>/</a:t>
            </a:r>
            <a:r>
              <a:rPr lang="de-DE" u="sng" dirty="0" err="1"/>
              <a:t>main</a:t>
            </a:r>
            <a:r>
              <a:rPr lang="de-DE" u="sng" dirty="0"/>
              <a:t>/</a:t>
            </a:r>
            <a:r>
              <a:rPr lang="de-DE" u="sng" dirty="0" err="1"/>
              <a:t>docker</a:t>
            </a:r>
            <a:r>
              <a:rPr lang="de-DE" u="sng" dirty="0"/>
              <a:t>/</a:t>
            </a:r>
            <a:r>
              <a:rPr lang="de-DE" u="sng" dirty="0" err="1"/>
              <a:t>Dockerfile</a:t>
            </a:r>
            <a:r>
              <a:rPr lang="de-DE" u="sng" dirty="0"/>
              <a:t> -t </a:t>
            </a:r>
            <a:r>
              <a:rPr lang="de-DE" u="sng" dirty="0" smtClean="0"/>
              <a:t>0….xxx.dkr.ecr.eu-west-3.amazonaws.com/</a:t>
            </a:r>
            <a:r>
              <a:rPr lang="de-DE" u="sng" dirty="0" err="1" smtClean="0"/>
              <a:t>ecs-repository:spring-boot</a:t>
            </a:r>
            <a:r>
              <a:rPr lang="de-DE" u="sng" dirty="0" smtClean="0"/>
              <a:t> .</a:t>
            </a:r>
          </a:p>
          <a:p>
            <a:endParaRPr lang="de-DE" sz="1400" u="sng" dirty="0"/>
          </a:p>
          <a:p>
            <a:endParaRPr lang="de-DE" sz="1400" u="sng" dirty="0" smtClean="0"/>
          </a:p>
          <a:p>
            <a:r>
              <a:rPr lang="en-US" dirty="0"/>
              <a:t> $(</a:t>
            </a:r>
            <a:r>
              <a:rPr lang="en-US" u="sng" dirty="0" err="1"/>
              <a:t>aws</a:t>
            </a:r>
            <a:r>
              <a:rPr lang="en-US" u="sng" dirty="0"/>
              <a:t> </a:t>
            </a:r>
            <a:r>
              <a:rPr lang="en-US" u="sng" dirty="0" err="1"/>
              <a:t>ecr</a:t>
            </a:r>
            <a:r>
              <a:rPr lang="en-US" u="sng" dirty="0"/>
              <a:t> get-login --region eu-west-3 --no-include-email) </a:t>
            </a:r>
            <a:endParaRPr lang="en-US" u="sng" dirty="0" smtClean="0"/>
          </a:p>
          <a:p>
            <a:endParaRPr lang="en-US" sz="1400" u="sng" dirty="0"/>
          </a:p>
          <a:p>
            <a:endParaRPr lang="en-US" sz="1400" u="sng" dirty="0" smtClean="0"/>
          </a:p>
          <a:p>
            <a:r>
              <a:rPr lang="de-DE" dirty="0"/>
              <a:t> </a:t>
            </a:r>
            <a:r>
              <a:rPr lang="de-DE" dirty="0" err="1"/>
              <a:t>docker</a:t>
            </a:r>
            <a:r>
              <a:rPr lang="de-DE" dirty="0"/>
              <a:t> </a:t>
            </a:r>
            <a:r>
              <a:rPr lang="de-DE"/>
              <a:t>push </a:t>
            </a:r>
            <a:r>
              <a:rPr lang="de-DE" smtClean="0"/>
              <a:t>0…xxx.dkr.ecr.eu-west-3.amazonaws.com/</a:t>
            </a:r>
            <a:r>
              <a:rPr lang="de-DE" u="sng" dirty="0" err="1" smtClean="0"/>
              <a:t>ecs-repository:spring-boot</a:t>
            </a:r>
            <a:r>
              <a:rPr lang="de-DE" u="sng" dirty="0" smtClean="0"/>
              <a:t> 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997213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ocker Image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ask</a:t>
            </a:r>
            <a:r>
              <a:rPr lang="de-DE" dirty="0" smtClean="0"/>
              <a:t> </a:t>
            </a:r>
            <a:r>
              <a:rPr lang="de-DE" dirty="0" err="1" smtClean="0"/>
              <a:t>definition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838200" y="1690688"/>
            <a:ext cx="849694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/>
              <a:t>Task Definition </a:t>
            </a:r>
            <a:r>
              <a:rPr lang="de-DE" b="1" dirty="0"/>
              <a:t>(Cloud Formation)</a:t>
            </a:r>
            <a:r>
              <a:rPr lang="en-US" b="1" dirty="0" smtClean="0"/>
              <a:t>:</a:t>
            </a:r>
          </a:p>
          <a:p>
            <a:endParaRPr lang="en-US" b="1" dirty="0" smtClean="0"/>
          </a:p>
          <a:p>
            <a:r>
              <a:rPr lang="en-US" sz="1400" b="1" dirty="0"/>
              <a:t>Resources</a:t>
            </a:r>
            <a:r>
              <a:rPr lang="en-US" sz="1400" b="1" dirty="0" smtClean="0"/>
              <a:t>:</a:t>
            </a:r>
            <a:endParaRPr lang="en-US" sz="1400" b="1" dirty="0"/>
          </a:p>
          <a:p>
            <a:r>
              <a:rPr lang="en-US" sz="1400" b="1" dirty="0"/>
              <a:t>    </a:t>
            </a:r>
            <a:r>
              <a:rPr lang="en-US" sz="1400" b="1" dirty="0" err="1"/>
              <a:t>TaskDefinition</a:t>
            </a:r>
            <a:r>
              <a:rPr lang="en-US" sz="1400" b="1" dirty="0"/>
              <a:t>:</a:t>
            </a:r>
          </a:p>
          <a:p>
            <a:r>
              <a:rPr lang="en-US" sz="1400" b="1" dirty="0"/>
              <a:t>        Type: AWS::ECS::</a:t>
            </a:r>
            <a:r>
              <a:rPr lang="en-US" sz="1400" b="1" dirty="0" err="1"/>
              <a:t>TaskDefinition</a:t>
            </a:r>
            <a:endParaRPr lang="en-US" sz="1400" b="1" dirty="0"/>
          </a:p>
          <a:p>
            <a:r>
              <a:rPr lang="en-US" sz="1400" b="1" dirty="0"/>
              <a:t>        Properties:</a:t>
            </a:r>
          </a:p>
          <a:p>
            <a:r>
              <a:rPr lang="en-US" sz="1400" b="1" dirty="0"/>
              <a:t>            Family:  !Ref AWS::</a:t>
            </a:r>
            <a:r>
              <a:rPr lang="en-US" sz="1400" b="1" dirty="0" err="1"/>
              <a:t>StackName</a:t>
            </a:r>
            <a:endParaRPr lang="en-US" sz="1400" b="1" dirty="0"/>
          </a:p>
          <a:p>
            <a:r>
              <a:rPr lang="en-US" sz="1400" b="1" dirty="0"/>
              <a:t>            </a:t>
            </a:r>
            <a:r>
              <a:rPr lang="en-US" sz="1400" b="1" dirty="0" err="1"/>
              <a:t>NetworkMode</a:t>
            </a:r>
            <a:r>
              <a:rPr lang="en-US" sz="1400" b="1" dirty="0"/>
              <a:t>: bridge</a:t>
            </a:r>
          </a:p>
          <a:p>
            <a:r>
              <a:rPr lang="en-US" sz="1400" b="1" dirty="0"/>
              <a:t>            </a:t>
            </a:r>
            <a:r>
              <a:rPr lang="en-US" sz="1400" b="1" dirty="0" err="1"/>
              <a:t>ContainerDefinitions</a:t>
            </a:r>
            <a:r>
              <a:rPr lang="en-US" sz="1400" b="1" dirty="0"/>
              <a:t>:</a:t>
            </a:r>
          </a:p>
          <a:p>
            <a:r>
              <a:rPr lang="en-US" sz="1400" b="1" dirty="0"/>
              <a:t>                - Name: !Ref AWS::</a:t>
            </a:r>
            <a:r>
              <a:rPr lang="en-US" sz="1400" b="1" dirty="0" err="1"/>
              <a:t>StackName</a:t>
            </a:r>
            <a:endParaRPr lang="en-US" sz="1400" b="1" dirty="0"/>
          </a:p>
          <a:p>
            <a:r>
              <a:rPr lang="en-US" sz="1400" b="1" dirty="0"/>
              <a:t>                  Essential: true</a:t>
            </a:r>
          </a:p>
          <a:p>
            <a:r>
              <a:rPr lang="en-US" sz="1400" b="1" dirty="0"/>
              <a:t>                  Image</a:t>
            </a:r>
            <a:r>
              <a:rPr lang="en-US" sz="1400" b="1"/>
              <a:t>: </a:t>
            </a:r>
            <a:r>
              <a:rPr lang="en-US" sz="1400" b="1" smtClean="0"/>
              <a:t>0…xxx.dkr.ecr.eu-west-3.amazonaws.com/</a:t>
            </a:r>
            <a:r>
              <a:rPr lang="en-US" sz="1400" b="1" dirty="0" err="1" smtClean="0"/>
              <a:t>ecs-repository:spring-boot</a:t>
            </a:r>
            <a:endParaRPr lang="en-US" sz="1400" b="1" dirty="0"/>
          </a:p>
          <a:p>
            <a:r>
              <a:rPr lang="en-US" sz="1400" b="1" dirty="0"/>
              <a:t>                  Memory: 800</a:t>
            </a:r>
          </a:p>
          <a:p>
            <a:r>
              <a:rPr lang="en-US" sz="1400" b="1" dirty="0"/>
              <a:t>                  </a:t>
            </a:r>
            <a:r>
              <a:rPr lang="en-US" sz="1400" b="1" dirty="0" err="1"/>
              <a:t>PortMappings</a:t>
            </a:r>
            <a:r>
              <a:rPr lang="en-US" sz="1400" b="1" dirty="0"/>
              <a:t>:</a:t>
            </a:r>
          </a:p>
          <a:p>
            <a:r>
              <a:rPr lang="en-US" sz="1400" b="1" dirty="0"/>
              <a:t>                    - </a:t>
            </a:r>
            <a:r>
              <a:rPr lang="en-US" sz="1400" b="1" dirty="0" err="1"/>
              <a:t>ContainerPort</a:t>
            </a:r>
            <a:r>
              <a:rPr lang="en-US" sz="1400" b="1" dirty="0"/>
              <a:t>: 8080</a:t>
            </a:r>
          </a:p>
          <a:p>
            <a:r>
              <a:rPr lang="en-US" sz="1400" b="1" dirty="0"/>
              <a:t>                  </a:t>
            </a:r>
            <a:r>
              <a:rPr lang="en-US" sz="1400" b="1" dirty="0" err="1"/>
              <a:t>LogConfiguration</a:t>
            </a:r>
            <a:r>
              <a:rPr lang="en-US" sz="1400" b="1" dirty="0"/>
              <a:t>:</a:t>
            </a:r>
          </a:p>
          <a:p>
            <a:r>
              <a:rPr lang="en-US" sz="1400" b="1" dirty="0"/>
              <a:t>                    </a:t>
            </a:r>
            <a:r>
              <a:rPr lang="en-US" sz="1400" b="1" dirty="0" err="1"/>
              <a:t>LogDriver</a:t>
            </a:r>
            <a:r>
              <a:rPr lang="en-US" sz="1400" b="1" dirty="0"/>
              <a:t>: </a:t>
            </a:r>
            <a:r>
              <a:rPr lang="en-US" sz="1400" b="1" dirty="0" err="1"/>
              <a:t>awslogs</a:t>
            </a:r>
            <a:endParaRPr lang="en-US" sz="1400" b="1" dirty="0"/>
          </a:p>
          <a:p>
            <a:r>
              <a:rPr lang="en-US" sz="1400" b="1" dirty="0"/>
              <a:t>                    Options:</a:t>
            </a:r>
          </a:p>
          <a:p>
            <a:r>
              <a:rPr lang="en-US" sz="1400" b="1" dirty="0"/>
              <a:t>                        </a:t>
            </a:r>
            <a:r>
              <a:rPr lang="en-US" sz="1400" b="1" dirty="0" err="1"/>
              <a:t>awslogs</a:t>
            </a:r>
            <a:r>
              <a:rPr lang="en-US" sz="1400" b="1" dirty="0"/>
              <a:t>-group: !Ref AWS::</a:t>
            </a:r>
            <a:r>
              <a:rPr lang="en-US" sz="1400" b="1" dirty="0" err="1"/>
              <a:t>StackName</a:t>
            </a:r>
            <a:endParaRPr lang="en-US" sz="1400" b="1" dirty="0"/>
          </a:p>
          <a:p>
            <a:r>
              <a:rPr lang="en-US" sz="1400" b="1" dirty="0"/>
              <a:t>                        </a:t>
            </a:r>
            <a:r>
              <a:rPr lang="en-US" sz="1400" b="1" dirty="0" err="1"/>
              <a:t>awslogs</a:t>
            </a:r>
            <a:r>
              <a:rPr lang="en-US" sz="1400" b="1" dirty="0"/>
              <a:t>-region: !Ref AWS::Region</a:t>
            </a:r>
            <a:endParaRPr lang="en-US" sz="1400" b="1" dirty="0" smtClean="0"/>
          </a:p>
        </p:txBody>
      </p:sp>
    </p:spTree>
    <p:extLst>
      <p:ext uri="{BB962C8B-B14F-4D97-AF65-F5344CB8AC3E}">
        <p14:creationId xmlns:p14="http://schemas.microsoft.com/office/powerpoint/2010/main" val="3417844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rvice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670297" y="1690688"/>
            <a:ext cx="8640960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 smtClean="0"/>
              <a:t>Service Parameter: </a:t>
            </a:r>
            <a:r>
              <a:rPr lang="de-DE" sz="1400" b="1" dirty="0" smtClean="0"/>
              <a:t> </a:t>
            </a:r>
          </a:p>
          <a:p>
            <a:endParaRPr lang="de-DE" sz="1400" b="1" dirty="0" smtClean="0"/>
          </a:p>
          <a:p>
            <a:r>
              <a:rPr lang="de-DE" sz="1400" b="1" dirty="0" smtClean="0"/>
              <a:t>VPC</a:t>
            </a:r>
            <a:endParaRPr lang="de-DE" sz="1400" b="1" dirty="0"/>
          </a:p>
          <a:p>
            <a:r>
              <a:rPr lang="de-DE" sz="1400" b="1" dirty="0" smtClean="0"/>
              <a:t>Cluster</a:t>
            </a:r>
          </a:p>
          <a:p>
            <a:r>
              <a:rPr lang="de-DE" sz="1400" b="1" dirty="0" smtClean="0"/>
              <a:t>Task</a:t>
            </a:r>
          </a:p>
          <a:p>
            <a:r>
              <a:rPr lang="de-DE" sz="1400" b="1" dirty="0" err="1" smtClean="0"/>
              <a:t>Desired</a:t>
            </a:r>
            <a:r>
              <a:rPr lang="de-DE" sz="1400" b="1" dirty="0" smtClean="0"/>
              <a:t> Count</a:t>
            </a:r>
          </a:p>
          <a:p>
            <a:r>
              <a:rPr lang="de-DE" sz="1400" b="1" dirty="0" smtClean="0"/>
              <a:t>Max Count</a:t>
            </a:r>
          </a:p>
          <a:p>
            <a:endParaRPr lang="de-DE" sz="1400" b="1" dirty="0" smtClean="0"/>
          </a:p>
          <a:p>
            <a:r>
              <a:rPr lang="de-DE" sz="1400" b="1" dirty="0" smtClean="0"/>
              <a:t>Optional:</a:t>
            </a:r>
          </a:p>
          <a:p>
            <a:r>
              <a:rPr lang="de-DE" sz="1400" b="1" dirty="0" smtClean="0"/>
              <a:t>Path ( </a:t>
            </a:r>
            <a:r>
              <a:rPr lang="de-DE" sz="1400" b="1" dirty="0" err="1" smtClean="0"/>
              <a:t>Health</a:t>
            </a:r>
            <a:r>
              <a:rPr lang="de-DE" sz="1400" b="1" dirty="0" smtClean="0"/>
              <a:t> Check)</a:t>
            </a:r>
          </a:p>
          <a:p>
            <a:r>
              <a:rPr lang="de-DE" sz="1400" b="1" dirty="0" smtClean="0"/>
              <a:t>Port (Container)</a:t>
            </a:r>
          </a:p>
          <a:p>
            <a:r>
              <a:rPr lang="de-DE" sz="1400" b="1" dirty="0" smtClean="0"/>
              <a:t>….</a:t>
            </a:r>
          </a:p>
          <a:p>
            <a:endParaRPr lang="de-DE" sz="1400" b="1" dirty="0" smtClean="0"/>
          </a:p>
          <a:p>
            <a:endParaRPr lang="de-DE" sz="1400" b="1" dirty="0"/>
          </a:p>
        </p:txBody>
      </p:sp>
    </p:spTree>
    <p:extLst>
      <p:ext uri="{BB962C8B-B14F-4D97-AF65-F5344CB8AC3E}">
        <p14:creationId xmlns:p14="http://schemas.microsoft.com/office/powerpoint/2010/main" val="2137088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70</Words>
  <Application>Microsoft Office PowerPoint</Application>
  <PresentationFormat>Breitbild</PresentationFormat>
  <Paragraphs>87</Paragraphs>
  <Slides>1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Dotum</vt:lpstr>
      <vt:lpstr>Office</vt:lpstr>
      <vt:lpstr>think-cell Slide</vt:lpstr>
      <vt:lpstr>PowerPoint-Präsentation</vt:lpstr>
      <vt:lpstr>PowerPoint-Präsentation</vt:lpstr>
      <vt:lpstr>Components</vt:lpstr>
      <vt:lpstr>Architecture</vt:lpstr>
      <vt:lpstr>Architecture</vt:lpstr>
      <vt:lpstr>Getting started</vt:lpstr>
      <vt:lpstr>Docker Image and task defintion</vt:lpstr>
      <vt:lpstr>Docker Image and task definition</vt:lpstr>
      <vt:lpstr>Service</vt:lpstr>
      <vt:lpstr>Service (CloudFormation)</vt:lpstr>
      <vt:lpstr>Code build / code pipeline</vt:lpstr>
    </vt:vector>
  </TitlesOfParts>
  <Company>NTT Data Deutschland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Unger Wolfgang</dc:creator>
  <cp:lastModifiedBy>Unger Wolfgang</cp:lastModifiedBy>
  <cp:revision>5</cp:revision>
  <dcterms:created xsi:type="dcterms:W3CDTF">2018-07-07T16:44:40Z</dcterms:created>
  <dcterms:modified xsi:type="dcterms:W3CDTF">2018-07-18T18:22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qChecksum">
    <vt:lpwstr>3ABAAD5D6135B285A83AA33B55DEC931</vt:lpwstr>
  </property>
  <property fmtid="{D5CDD505-2E9C-101B-9397-08002B2CF9AE}" pid="3" name="CqInformationType">
    <vt:lpwstr>Working Standard</vt:lpwstr>
  </property>
  <property fmtid="{D5CDD505-2E9C-101B-9397-08002B2CF9AE}" pid="4" name="CqVitality">
    <vt:lpwstr/>
  </property>
  <property fmtid="{D5CDD505-2E9C-101B-9397-08002B2CF9AE}" pid="5" name="CqDisclosureRange">
    <vt:lpwstr/>
  </property>
  <property fmtid="{D5CDD505-2E9C-101B-9397-08002B2CF9AE}" pid="6" name="CqDisclosureRangeStamp">
    <vt:lpwstr/>
  </property>
  <property fmtid="{D5CDD505-2E9C-101B-9397-08002B2CF9AE}" pid="7" name="CqDisclosureRangeLimitation">
    <vt:lpwstr/>
  </property>
  <property fmtid="{D5CDD505-2E9C-101B-9397-08002B2CF9AE}" pid="8" name="CqOwner">
    <vt:lpwstr>UNGERW</vt:lpwstr>
  </property>
  <property fmtid="{D5CDD505-2E9C-101B-9397-08002B2CF9AE}" pid="9" name="CqDepartment">
    <vt:lpwstr/>
  </property>
  <property fmtid="{D5CDD505-2E9C-101B-9397-08002B2CF9AE}" pid="10" name="CqCompanyOwner">
    <vt:lpwstr>EBS Romania SA</vt:lpwstr>
  </property>
</Properties>
</file>